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7"/>
  </p:notesMasterIdLst>
  <p:sldIdLst>
    <p:sldId id="256" r:id="rId2"/>
    <p:sldId id="1268" r:id="rId3"/>
    <p:sldId id="1269" r:id="rId4"/>
    <p:sldId id="1270" r:id="rId5"/>
    <p:sldId id="1267" r:id="rId6"/>
  </p:sldIdLst>
  <p:sldSz cx="1186815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B0C00"/>
    <a:srgbClr val="5A1115"/>
    <a:srgbClr val="941100"/>
    <a:srgbClr val="0052FF"/>
    <a:srgbClr val="AB1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56"/>
    <p:restoredTop sz="95934"/>
  </p:normalViewPr>
  <p:slideViewPr>
    <p:cSldViewPr snapToGrid="0" snapToObjects="1">
      <p:cViewPr varScale="1">
        <p:scale>
          <a:sx n="106" d="100"/>
          <a:sy n="106" d="100"/>
        </p:scale>
        <p:origin x="1192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naldo Maciel Bellato" userId="50f85abd-da22-4a3a-89cf-80ecf1ba93d1" providerId="ADAL" clId="{11D6B1C1-F98C-084A-BEBD-AD6CC1FD3BA7}"/>
    <pc:docChg chg="undo custSel modSld">
      <pc:chgData name="Arnaldo Maciel Bellato" userId="50f85abd-da22-4a3a-89cf-80ecf1ba93d1" providerId="ADAL" clId="{11D6B1C1-F98C-084A-BEBD-AD6CC1FD3BA7}" dt="2018-12-20T11:29:42.898" v="301" actId="20577"/>
      <pc:docMkLst>
        <pc:docMk/>
      </pc:docMkLst>
      <pc:sldChg chg="addSp delSp modSp">
        <pc:chgData name="Arnaldo Maciel Bellato" userId="50f85abd-da22-4a3a-89cf-80ecf1ba93d1" providerId="ADAL" clId="{11D6B1C1-F98C-084A-BEBD-AD6CC1FD3BA7}" dt="2018-12-20T11:29:30.988" v="283"/>
        <pc:sldMkLst>
          <pc:docMk/>
          <pc:sldMk cId="2762149691" sldId="1268"/>
        </pc:sldMkLst>
        <pc:spChg chg="add del mod">
          <ac:chgData name="Arnaldo Maciel Bellato" userId="50f85abd-da22-4a3a-89cf-80ecf1ba93d1" providerId="ADAL" clId="{11D6B1C1-F98C-084A-BEBD-AD6CC1FD3BA7}" dt="2018-12-20T11:29:30.988" v="283"/>
          <ac:spMkLst>
            <pc:docMk/>
            <pc:sldMk cId="2762149691" sldId="1268"/>
            <ac:spMk id="2" creationId="{AFB90362-4F9F-5142-B7F7-B0B81223B04B}"/>
          </ac:spMkLst>
        </pc:spChg>
        <pc:spChg chg="add del mod">
          <ac:chgData name="Arnaldo Maciel Bellato" userId="50f85abd-da22-4a3a-89cf-80ecf1ba93d1" providerId="ADAL" clId="{11D6B1C1-F98C-084A-BEBD-AD6CC1FD3BA7}" dt="2018-12-20T11:06:33.885" v="5"/>
          <ac:spMkLst>
            <pc:docMk/>
            <pc:sldMk cId="2762149691" sldId="1268"/>
            <ac:spMk id="2" creationId="{F437F787-A629-5A41-B87D-3550B9E6A791}"/>
          </ac:spMkLst>
        </pc:spChg>
        <pc:spChg chg="mod">
          <ac:chgData name="Arnaldo Maciel Bellato" userId="50f85abd-da22-4a3a-89cf-80ecf1ba93d1" providerId="ADAL" clId="{11D6B1C1-F98C-084A-BEBD-AD6CC1FD3BA7}" dt="2018-12-20T11:29:11.396" v="262" actId="20577"/>
          <ac:spMkLst>
            <pc:docMk/>
            <pc:sldMk cId="2762149691" sldId="1268"/>
            <ac:spMk id="3" creationId="{91CAC9A7-11FA-7E42-8717-ECC7EAE7E721}"/>
          </ac:spMkLst>
        </pc:spChg>
        <pc:spChg chg="add mod topLvl">
          <ac:chgData name="Arnaldo Maciel Bellato" userId="50f85abd-da22-4a3a-89cf-80ecf1ba93d1" providerId="ADAL" clId="{11D6B1C1-F98C-084A-BEBD-AD6CC1FD3BA7}" dt="2018-12-20T11:12:18.991" v="29" actId="113"/>
          <ac:spMkLst>
            <pc:docMk/>
            <pc:sldMk cId="2762149691" sldId="1268"/>
            <ac:spMk id="4" creationId="{37A756EA-E1FD-4D47-95EC-CBC49DF54486}"/>
          </ac:spMkLst>
        </pc:spChg>
        <pc:grpChg chg="add del mod">
          <ac:chgData name="Arnaldo Maciel Bellato" userId="50f85abd-da22-4a3a-89cf-80ecf1ba93d1" providerId="ADAL" clId="{11D6B1C1-F98C-084A-BEBD-AD6CC1FD3BA7}" dt="2018-12-20T11:07:31.984" v="17" actId="165"/>
          <ac:grpSpMkLst>
            <pc:docMk/>
            <pc:sldMk cId="2762149691" sldId="1268"/>
            <ac:grpSpMk id="6" creationId="{1E9082DE-D6DC-7540-B0C3-9160FB233751}"/>
          </ac:grpSpMkLst>
        </pc:grpChg>
        <pc:grpChg chg="add del mod">
          <ac:chgData name="Arnaldo Maciel Bellato" userId="50f85abd-da22-4a3a-89cf-80ecf1ba93d1" providerId="ADAL" clId="{11D6B1C1-F98C-084A-BEBD-AD6CC1FD3BA7}" dt="2018-12-20T11:09:08.283" v="26" actId="165"/>
          <ac:grpSpMkLst>
            <pc:docMk/>
            <pc:sldMk cId="2762149691" sldId="1268"/>
            <ac:grpSpMk id="7" creationId="{80B39D94-6500-5A4F-9741-319B595C6C94}"/>
          </ac:grpSpMkLst>
        </pc:grpChg>
        <pc:grpChg chg="add mod">
          <ac:chgData name="Arnaldo Maciel Bellato" userId="50f85abd-da22-4a3a-89cf-80ecf1ba93d1" providerId="ADAL" clId="{11D6B1C1-F98C-084A-BEBD-AD6CC1FD3BA7}" dt="2018-12-20T11:09:39.576" v="27" actId="164"/>
          <ac:grpSpMkLst>
            <pc:docMk/>
            <pc:sldMk cId="2762149691" sldId="1268"/>
            <ac:grpSpMk id="8" creationId="{BB4B638C-7193-C94A-93F5-61A1F188EF53}"/>
          </ac:grpSpMkLst>
        </pc:grpChg>
        <pc:picChg chg="add mod topLvl modCrop">
          <ac:chgData name="Arnaldo Maciel Bellato" userId="50f85abd-da22-4a3a-89cf-80ecf1ba93d1" providerId="ADAL" clId="{11D6B1C1-F98C-084A-BEBD-AD6CC1FD3BA7}" dt="2018-12-20T11:09:39.576" v="27" actId="164"/>
          <ac:picMkLst>
            <pc:docMk/>
            <pc:sldMk cId="2762149691" sldId="1268"/>
            <ac:picMk id="5" creationId="{848ECEE0-2F1F-CB48-B6D1-FE52C5734A7D}"/>
          </ac:picMkLst>
        </pc:picChg>
        <pc:picChg chg="add del mod">
          <ac:chgData name="Arnaldo Maciel Bellato" userId="50f85abd-da22-4a3a-89cf-80ecf1ba93d1" providerId="ADAL" clId="{11D6B1C1-F98C-084A-BEBD-AD6CC1FD3BA7}" dt="2018-12-20T11:13:33.215" v="32" actId="478"/>
          <ac:picMkLst>
            <pc:docMk/>
            <pc:sldMk cId="2762149691" sldId="1268"/>
            <ac:picMk id="9" creationId="{21346128-38CA-F242-A2FE-78041AAF9BEF}"/>
          </ac:picMkLst>
        </pc:picChg>
      </pc:sldChg>
      <pc:sldChg chg="addSp delSp modSp">
        <pc:chgData name="Arnaldo Maciel Bellato" userId="50f85abd-da22-4a3a-89cf-80ecf1ba93d1" providerId="ADAL" clId="{11D6B1C1-F98C-084A-BEBD-AD6CC1FD3BA7}" dt="2018-12-20T11:29:26.699" v="281" actId="20577"/>
        <pc:sldMkLst>
          <pc:docMk/>
          <pc:sldMk cId="3959055450" sldId="1269"/>
        </pc:sldMkLst>
        <pc:spChg chg="mod">
          <ac:chgData name="Arnaldo Maciel Bellato" userId="50f85abd-da22-4a3a-89cf-80ecf1ba93d1" providerId="ADAL" clId="{11D6B1C1-F98C-084A-BEBD-AD6CC1FD3BA7}" dt="2018-12-20T11:29:26.699" v="281" actId="20577"/>
          <ac:spMkLst>
            <pc:docMk/>
            <pc:sldMk cId="3959055450" sldId="1269"/>
            <ac:spMk id="2" creationId="{CCA57117-7A09-0F41-9F34-B9A32C749FD3}"/>
          </ac:spMkLst>
        </pc:spChg>
        <pc:spChg chg="add mod">
          <ac:chgData name="Arnaldo Maciel Bellato" userId="50f85abd-da22-4a3a-89cf-80ecf1ba93d1" providerId="ADAL" clId="{11D6B1C1-F98C-084A-BEBD-AD6CC1FD3BA7}" dt="2018-12-20T11:18:39.390" v="177" actId="20577"/>
          <ac:spMkLst>
            <pc:docMk/>
            <pc:sldMk cId="3959055450" sldId="1269"/>
            <ac:spMk id="9" creationId="{7A9B0B5B-5780-EF4D-A704-09F08C369562}"/>
          </ac:spMkLst>
        </pc:spChg>
        <pc:spChg chg="add mod">
          <ac:chgData name="Arnaldo Maciel Bellato" userId="50f85abd-da22-4a3a-89cf-80ecf1ba93d1" providerId="ADAL" clId="{11D6B1C1-F98C-084A-BEBD-AD6CC1FD3BA7}" dt="2018-12-20T11:19:00.110" v="188" actId="1036"/>
          <ac:spMkLst>
            <pc:docMk/>
            <pc:sldMk cId="3959055450" sldId="1269"/>
            <ac:spMk id="10" creationId="{66D4D86B-9CD5-F346-82C2-4665068944A1}"/>
          </ac:spMkLst>
        </pc:spChg>
        <pc:picChg chg="add mod">
          <ac:chgData name="Arnaldo Maciel Bellato" userId="50f85abd-da22-4a3a-89cf-80ecf1ba93d1" providerId="ADAL" clId="{11D6B1C1-F98C-084A-BEBD-AD6CC1FD3BA7}" dt="2018-12-20T11:18:56.605" v="185" actId="12789"/>
          <ac:picMkLst>
            <pc:docMk/>
            <pc:sldMk cId="3959055450" sldId="1269"/>
            <ac:picMk id="4" creationId="{91AA3CD3-2B0D-B348-BC25-2AA707DB669B}"/>
          </ac:picMkLst>
        </pc:picChg>
        <pc:picChg chg="add del mod">
          <ac:chgData name="Arnaldo Maciel Bellato" userId="50f85abd-da22-4a3a-89cf-80ecf1ba93d1" providerId="ADAL" clId="{11D6B1C1-F98C-084A-BEBD-AD6CC1FD3BA7}" dt="2018-12-20T11:17:01.850" v="84" actId="931"/>
          <ac:picMkLst>
            <pc:docMk/>
            <pc:sldMk cId="3959055450" sldId="1269"/>
            <ac:picMk id="6" creationId="{5B3492C7-B8A5-774E-9923-635E78A14D92}"/>
          </ac:picMkLst>
        </pc:picChg>
        <pc:picChg chg="add mod">
          <ac:chgData name="Arnaldo Maciel Bellato" userId="50f85abd-da22-4a3a-89cf-80ecf1ba93d1" providerId="ADAL" clId="{11D6B1C1-F98C-084A-BEBD-AD6CC1FD3BA7}" dt="2018-12-20T11:17:43.458" v="143" actId="1035"/>
          <ac:picMkLst>
            <pc:docMk/>
            <pc:sldMk cId="3959055450" sldId="1269"/>
            <ac:picMk id="8" creationId="{26F328C4-808D-6349-825B-5AA72DF8DE71}"/>
          </ac:picMkLst>
        </pc:picChg>
        <pc:picChg chg="add mod">
          <ac:chgData name="Arnaldo Maciel Bellato" userId="50f85abd-da22-4a3a-89cf-80ecf1ba93d1" providerId="ADAL" clId="{11D6B1C1-F98C-084A-BEBD-AD6CC1FD3BA7}" dt="2018-12-20T11:18:56.605" v="185" actId="12789"/>
          <ac:picMkLst>
            <pc:docMk/>
            <pc:sldMk cId="3959055450" sldId="1269"/>
            <ac:picMk id="11" creationId="{3AB198D3-C26F-2243-8D9B-6BC22BBBF527}"/>
          </ac:picMkLst>
        </pc:picChg>
      </pc:sldChg>
      <pc:sldChg chg="addSp delSp modSp">
        <pc:chgData name="Arnaldo Maciel Bellato" userId="50f85abd-da22-4a3a-89cf-80ecf1ba93d1" providerId="ADAL" clId="{11D6B1C1-F98C-084A-BEBD-AD6CC1FD3BA7}" dt="2018-12-20T11:29:42.898" v="301" actId="20577"/>
        <pc:sldMkLst>
          <pc:docMk/>
          <pc:sldMk cId="3090064900" sldId="1270"/>
        </pc:sldMkLst>
        <pc:spChg chg="mod">
          <ac:chgData name="Arnaldo Maciel Bellato" userId="50f85abd-da22-4a3a-89cf-80ecf1ba93d1" providerId="ADAL" clId="{11D6B1C1-F98C-084A-BEBD-AD6CC1FD3BA7}" dt="2018-12-20T11:29:42.898" v="301" actId="20577"/>
          <ac:spMkLst>
            <pc:docMk/>
            <pc:sldMk cId="3090064900" sldId="1270"/>
            <ac:spMk id="2" creationId="{F1C45B71-1017-2E46-B2B0-F1BEA3894221}"/>
          </ac:spMkLst>
        </pc:spChg>
        <pc:picChg chg="add">
          <ac:chgData name="Arnaldo Maciel Bellato" userId="50f85abd-da22-4a3a-89cf-80ecf1ba93d1" providerId="ADAL" clId="{11D6B1C1-F98C-084A-BEBD-AD6CC1FD3BA7}" dt="2018-12-20T11:26:49.756" v="189"/>
          <ac:picMkLst>
            <pc:docMk/>
            <pc:sldMk cId="3090064900" sldId="1270"/>
            <ac:picMk id="3" creationId="{DAA3215F-EA94-C64C-A9B7-0A187D92A2E5}"/>
          </ac:picMkLst>
        </pc:picChg>
        <pc:picChg chg="add">
          <ac:chgData name="Arnaldo Maciel Bellato" userId="50f85abd-da22-4a3a-89cf-80ecf1ba93d1" providerId="ADAL" clId="{11D6B1C1-F98C-084A-BEBD-AD6CC1FD3BA7}" dt="2018-12-20T11:26:49.756" v="189"/>
          <ac:picMkLst>
            <pc:docMk/>
            <pc:sldMk cId="3090064900" sldId="1270"/>
            <ac:picMk id="4" creationId="{FD3DBAF8-3BD4-AE4F-8496-422C11E8838E}"/>
          </ac:picMkLst>
        </pc:picChg>
        <pc:picChg chg="add del">
          <ac:chgData name="Arnaldo Maciel Bellato" userId="50f85abd-da22-4a3a-89cf-80ecf1ba93d1" providerId="ADAL" clId="{11D6B1C1-F98C-084A-BEBD-AD6CC1FD3BA7}" dt="2018-12-20T11:27:33.108" v="193" actId="478"/>
          <ac:picMkLst>
            <pc:docMk/>
            <pc:sldMk cId="3090064900" sldId="1270"/>
            <ac:picMk id="5" creationId="{AB19412A-14A6-4648-886A-B731B3EBEE94}"/>
          </ac:picMkLst>
        </pc:picChg>
        <pc:picChg chg="add mod modCrop">
          <ac:chgData name="Arnaldo Maciel Bellato" userId="50f85abd-da22-4a3a-89cf-80ecf1ba93d1" providerId="ADAL" clId="{11D6B1C1-F98C-084A-BEBD-AD6CC1FD3BA7}" dt="2018-12-20T11:28:41.090" v="241" actId="14100"/>
          <ac:picMkLst>
            <pc:docMk/>
            <pc:sldMk cId="3090064900" sldId="1270"/>
            <ac:picMk id="7" creationId="{5213D4F3-76D8-CE42-8F75-E3E999A52DFC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1CE05B-6109-444C-9EA1-6562DB008B84}" type="datetimeFigureOut">
              <a:rPr lang="pt-BR" smtClean="0"/>
              <a:t>20/12/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758825" y="1143000"/>
            <a:ext cx="53403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pt-BR"/>
              <a:t>Editar estilos de texto Mestre
Segundo nível
Terceiro nível
Quarto nível
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2F1F33-F2CD-9840-AFB4-CB91FBEC5E8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423207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B20622A7-24A3-4A46-94C6-B5D0FC5DF15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" y="1845000"/>
            <a:ext cx="11868150" cy="3168000"/>
          </a:xfrm>
          <a:prstGeom prst="rect">
            <a:avLst/>
          </a:prstGeom>
          <a:solidFill>
            <a:srgbClr val="7B0C00"/>
          </a:solidFill>
          <a:ln w="11429" cap="flat" cmpd="sng" algn="ctr">
            <a:noFill/>
            <a:prstDash val="sys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3F8FF1D-DE6F-5A40-8E0E-A5B2DFE20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9149" y="2456906"/>
            <a:ext cx="5473700" cy="1944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781053"/>
      </p:ext>
    </p:extLst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>
            <a:extLst>
              <a:ext uri="{FF2B5EF4-FFF2-40B4-BE49-F238E27FC236}">
                <a16:creationId xmlns:a16="http://schemas.microsoft.com/office/drawing/2014/main" id="{67093406-311A-274D-B14A-9CE0EF64D12B}"/>
              </a:ext>
            </a:extLst>
          </p:cNvPr>
          <p:cNvSpPr/>
          <p:nvPr userDrawn="1"/>
        </p:nvSpPr>
        <p:spPr>
          <a:xfrm>
            <a:off x="102075" y="710746"/>
            <a:ext cx="11664000" cy="72000"/>
          </a:xfrm>
          <a:prstGeom prst="rect">
            <a:avLst/>
          </a:prstGeom>
          <a:solidFill>
            <a:srgbClr val="7B0C00"/>
          </a:solidFill>
          <a:ln w="12700" cap="flat" cmpd="sng" algn="ctr">
            <a:solidFill>
              <a:srgbClr val="5A111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865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4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33F2E14B-C82E-8341-889E-017902892905}"/>
              </a:ext>
            </a:extLst>
          </p:cNvPr>
          <p:cNvSpPr txBox="1"/>
          <p:nvPr userDrawn="1"/>
        </p:nvSpPr>
        <p:spPr>
          <a:xfrm>
            <a:off x="3813944" y="6484263"/>
            <a:ext cx="42402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800" b="0" i="0" dirty="0">
                <a:solidFill>
                  <a:schemeClr val="bg1">
                    <a:lumMod val="75000"/>
                  </a:schemeClr>
                </a:solidFill>
                <a:latin typeface="PF BeauSans Pro Light" panose="02000500000000020004" pitchFamily="2" charset="0"/>
              </a:rPr>
              <a:t>Commitment with Agility and Flexibility 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043EBBD-45F5-3046-95AA-9166ECE52C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685" y="45720"/>
            <a:ext cx="186381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01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>
            <a:extLst>
              <a:ext uri="{FF2B5EF4-FFF2-40B4-BE49-F238E27FC236}">
                <a16:creationId xmlns:a16="http://schemas.microsoft.com/office/drawing/2014/main" id="{CFB55BFB-D0AC-0F48-8A2E-60E9DF899D00}"/>
              </a:ext>
            </a:extLst>
          </p:cNvPr>
          <p:cNvSpPr/>
          <p:nvPr userDrawn="1"/>
        </p:nvSpPr>
        <p:spPr>
          <a:xfrm>
            <a:off x="0" y="-3420"/>
            <a:ext cx="11844000" cy="828000"/>
          </a:xfrm>
          <a:prstGeom prst="rect">
            <a:avLst/>
          </a:prstGeom>
          <a:solidFill>
            <a:srgbClr val="7B0C00"/>
          </a:solidFill>
          <a:ln w="12700" cap="flat" cmpd="sng" algn="ctr">
            <a:solidFill>
              <a:srgbClr val="5A111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865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4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33F2E14B-C82E-8341-889E-017902892905}"/>
              </a:ext>
            </a:extLst>
          </p:cNvPr>
          <p:cNvSpPr txBox="1"/>
          <p:nvPr userDrawn="1"/>
        </p:nvSpPr>
        <p:spPr>
          <a:xfrm>
            <a:off x="3813944" y="6484263"/>
            <a:ext cx="42402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800" b="0" i="0" dirty="0">
                <a:solidFill>
                  <a:schemeClr val="bg1">
                    <a:lumMod val="75000"/>
                  </a:schemeClr>
                </a:solidFill>
                <a:latin typeface="PF BeauSans Pro Light" panose="02000500000000020004" pitchFamily="2" charset="0"/>
              </a:rPr>
              <a:t>Commitment with Agility and Flexibility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57E4AED-4DEE-5B4E-B6EE-A84372C678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176"/>
          <a:stretch/>
        </p:blipFill>
        <p:spPr>
          <a:xfrm>
            <a:off x="10032531" y="119200"/>
            <a:ext cx="1692000" cy="431642"/>
          </a:xfrm>
          <a:prstGeom prst="rect">
            <a:avLst/>
          </a:prstGeom>
        </p:spPr>
      </p:pic>
      <p:sp>
        <p:nvSpPr>
          <p:cNvPr id="8" name="Rectangle 11">
            <a:extLst>
              <a:ext uri="{FF2B5EF4-FFF2-40B4-BE49-F238E27FC236}">
                <a16:creationId xmlns:a16="http://schemas.microsoft.com/office/drawing/2014/main" id="{C6C1062E-915E-154A-AED4-AB1F3CC7259E}"/>
              </a:ext>
            </a:extLst>
          </p:cNvPr>
          <p:cNvSpPr/>
          <p:nvPr userDrawn="1"/>
        </p:nvSpPr>
        <p:spPr>
          <a:xfrm>
            <a:off x="102075" y="710746"/>
            <a:ext cx="11664000" cy="72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865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4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273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>
            <a:extLst>
              <a:ext uri="{FF2B5EF4-FFF2-40B4-BE49-F238E27FC236}">
                <a16:creationId xmlns:a16="http://schemas.microsoft.com/office/drawing/2014/main" id="{67093406-311A-274D-B14A-9CE0EF64D12B}"/>
              </a:ext>
            </a:extLst>
          </p:cNvPr>
          <p:cNvSpPr/>
          <p:nvPr userDrawn="1"/>
        </p:nvSpPr>
        <p:spPr>
          <a:xfrm>
            <a:off x="0" y="0"/>
            <a:ext cx="240825" cy="782746"/>
          </a:xfrm>
          <a:prstGeom prst="rect">
            <a:avLst/>
          </a:prstGeom>
          <a:solidFill>
            <a:srgbClr val="7B0C00"/>
          </a:solidFill>
          <a:ln w="12700" cap="flat" cmpd="sng" algn="ctr">
            <a:solidFill>
              <a:srgbClr val="5A111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865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4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33F2E14B-C82E-8341-889E-017902892905}"/>
              </a:ext>
            </a:extLst>
          </p:cNvPr>
          <p:cNvSpPr txBox="1"/>
          <p:nvPr userDrawn="1"/>
        </p:nvSpPr>
        <p:spPr>
          <a:xfrm>
            <a:off x="3813944" y="6484263"/>
            <a:ext cx="42402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800" b="0" i="0" dirty="0">
                <a:solidFill>
                  <a:schemeClr val="bg1">
                    <a:lumMod val="75000"/>
                  </a:schemeClr>
                </a:solidFill>
                <a:latin typeface="PF BeauSans Pro Light" panose="02000500000000020004" pitchFamily="2" charset="0"/>
              </a:rPr>
              <a:t>Commitment with Agility and Flexibility 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46D63842-CEEA-624C-89B5-7B42F8A69C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685" y="45720"/>
            <a:ext cx="186381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023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F0FF0CB-46AA-F440-AF2E-7A7D917D22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1675" y="2451826"/>
            <a:ext cx="5384800" cy="1954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724132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9304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1" r:id="rId2"/>
    <p:sldLayoutId id="2147483665" r:id="rId3"/>
    <p:sldLayoutId id="2147483666" r:id="rId4"/>
    <p:sldLayoutId id="2147483664" r:id="rId5"/>
  </p:sldLayoutIdLst>
  <p:txStyles>
    <p:titleStyle>
      <a:lvl1pPr algn="l" defTabSz="890077" rtl="0" eaLnBrk="1" latinLnBrk="0" hangingPunct="1">
        <a:lnSpc>
          <a:spcPct val="90000"/>
        </a:lnSpc>
        <a:spcBef>
          <a:spcPct val="0"/>
        </a:spcBef>
        <a:buNone/>
        <a:defRPr sz="428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2519" indent="-222519" algn="l" defTabSz="890077" rtl="0" eaLnBrk="1" latinLnBrk="0" hangingPunct="1">
        <a:lnSpc>
          <a:spcPct val="90000"/>
        </a:lnSpc>
        <a:spcBef>
          <a:spcPts val="973"/>
        </a:spcBef>
        <a:buFont typeface="Arial" panose="020B0604020202020204" pitchFamily="34" charset="0"/>
        <a:buChar char="•"/>
        <a:defRPr sz="2726" kern="1200">
          <a:solidFill>
            <a:schemeClr val="tx1"/>
          </a:solidFill>
          <a:latin typeface="+mn-lt"/>
          <a:ea typeface="+mn-ea"/>
          <a:cs typeface="+mn-cs"/>
        </a:defRPr>
      </a:lvl1pPr>
      <a:lvl2pPr marL="667558" indent="-222519" algn="l" defTabSz="890077" rtl="0" eaLnBrk="1" latinLnBrk="0" hangingPunct="1">
        <a:lnSpc>
          <a:spcPct val="90000"/>
        </a:lnSpc>
        <a:spcBef>
          <a:spcPts val="487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2pPr>
      <a:lvl3pPr marL="1112596" indent="-222519" algn="l" defTabSz="890077" rtl="0" eaLnBrk="1" latinLnBrk="0" hangingPunct="1">
        <a:lnSpc>
          <a:spcPct val="90000"/>
        </a:lnSpc>
        <a:spcBef>
          <a:spcPts val="487"/>
        </a:spcBef>
        <a:buFont typeface="Arial" panose="020B0604020202020204" pitchFamily="34" charset="0"/>
        <a:buChar char="•"/>
        <a:defRPr sz="1947" kern="1200">
          <a:solidFill>
            <a:schemeClr val="tx1"/>
          </a:solidFill>
          <a:latin typeface="+mn-lt"/>
          <a:ea typeface="+mn-ea"/>
          <a:cs typeface="+mn-cs"/>
        </a:defRPr>
      </a:lvl3pPr>
      <a:lvl4pPr marL="1557635" indent="-222519" algn="l" defTabSz="890077" rtl="0" eaLnBrk="1" latinLnBrk="0" hangingPunct="1">
        <a:lnSpc>
          <a:spcPct val="90000"/>
        </a:lnSpc>
        <a:spcBef>
          <a:spcPts val="487"/>
        </a:spcBef>
        <a:buFont typeface="Arial" panose="020B0604020202020204" pitchFamily="34" charset="0"/>
        <a:buChar char="•"/>
        <a:defRPr sz="1752" kern="1200">
          <a:solidFill>
            <a:schemeClr val="tx1"/>
          </a:solidFill>
          <a:latin typeface="+mn-lt"/>
          <a:ea typeface="+mn-ea"/>
          <a:cs typeface="+mn-cs"/>
        </a:defRPr>
      </a:lvl4pPr>
      <a:lvl5pPr marL="2002673" indent="-222519" algn="l" defTabSz="890077" rtl="0" eaLnBrk="1" latinLnBrk="0" hangingPunct="1">
        <a:lnSpc>
          <a:spcPct val="90000"/>
        </a:lnSpc>
        <a:spcBef>
          <a:spcPts val="487"/>
        </a:spcBef>
        <a:buFont typeface="Arial" panose="020B0604020202020204" pitchFamily="34" charset="0"/>
        <a:buChar char="•"/>
        <a:defRPr sz="1752" kern="1200">
          <a:solidFill>
            <a:schemeClr val="tx1"/>
          </a:solidFill>
          <a:latin typeface="+mn-lt"/>
          <a:ea typeface="+mn-ea"/>
          <a:cs typeface="+mn-cs"/>
        </a:defRPr>
      </a:lvl5pPr>
      <a:lvl6pPr marL="2447712" indent="-222519" algn="l" defTabSz="890077" rtl="0" eaLnBrk="1" latinLnBrk="0" hangingPunct="1">
        <a:lnSpc>
          <a:spcPct val="90000"/>
        </a:lnSpc>
        <a:spcBef>
          <a:spcPts val="487"/>
        </a:spcBef>
        <a:buFont typeface="Arial" panose="020B0604020202020204" pitchFamily="34" charset="0"/>
        <a:buChar char="•"/>
        <a:defRPr sz="1752" kern="1200">
          <a:solidFill>
            <a:schemeClr val="tx1"/>
          </a:solidFill>
          <a:latin typeface="+mn-lt"/>
          <a:ea typeface="+mn-ea"/>
          <a:cs typeface="+mn-cs"/>
        </a:defRPr>
      </a:lvl6pPr>
      <a:lvl7pPr marL="2892750" indent="-222519" algn="l" defTabSz="890077" rtl="0" eaLnBrk="1" latinLnBrk="0" hangingPunct="1">
        <a:lnSpc>
          <a:spcPct val="90000"/>
        </a:lnSpc>
        <a:spcBef>
          <a:spcPts val="487"/>
        </a:spcBef>
        <a:buFont typeface="Arial" panose="020B0604020202020204" pitchFamily="34" charset="0"/>
        <a:buChar char="•"/>
        <a:defRPr sz="1752" kern="1200">
          <a:solidFill>
            <a:schemeClr val="tx1"/>
          </a:solidFill>
          <a:latin typeface="+mn-lt"/>
          <a:ea typeface="+mn-ea"/>
          <a:cs typeface="+mn-cs"/>
        </a:defRPr>
      </a:lvl7pPr>
      <a:lvl8pPr marL="3337789" indent="-222519" algn="l" defTabSz="890077" rtl="0" eaLnBrk="1" latinLnBrk="0" hangingPunct="1">
        <a:lnSpc>
          <a:spcPct val="90000"/>
        </a:lnSpc>
        <a:spcBef>
          <a:spcPts val="487"/>
        </a:spcBef>
        <a:buFont typeface="Arial" panose="020B0604020202020204" pitchFamily="34" charset="0"/>
        <a:buChar char="•"/>
        <a:defRPr sz="1752" kern="1200">
          <a:solidFill>
            <a:schemeClr val="tx1"/>
          </a:solidFill>
          <a:latin typeface="+mn-lt"/>
          <a:ea typeface="+mn-ea"/>
          <a:cs typeface="+mn-cs"/>
        </a:defRPr>
      </a:lvl8pPr>
      <a:lvl9pPr marL="3782827" indent="-222519" algn="l" defTabSz="890077" rtl="0" eaLnBrk="1" latinLnBrk="0" hangingPunct="1">
        <a:lnSpc>
          <a:spcPct val="90000"/>
        </a:lnSpc>
        <a:spcBef>
          <a:spcPts val="487"/>
        </a:spcBef>
        <a:buFont typeface="Arial" panose="020B0604020202020204" pitchFamily="34" charset="0"/>
        <a:buChar char="•"/>
        <a:defRPr sz="17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0077" rtl="0" eaLnBrk="1" latinLnBrk="0" hangingPunct="1">
        <a:defRPr sz="1752" kern="1200">
          <a:solidFill>
            <a:schemeClr val="tx1"/>
          </a:solidFill>
          <a:latin typeface="+mn-lt"/>
          <a:ea typeface="+mn-ea"/>
          <a:cs typeface="+mn-cs"/>
        </a:defRPr>
      </a:lvl1pPr>
      <a:lvl2pPr marL="445038" algn="l" defTabSz="890077" rtl="0" eaLnBrk="1" latinLnBrk="0" hangingPunct="1">
        <a:defRPr sz="1752" kern="1200">
          <a:solidFill>
            <a:schemeClr val="tx1"/>
          </a:solidFill>
          <a:latin typeface="+mn-lt"/>
          <a:ea typeface="+mn-ea"/>
          <a:cs typeface="+mn-cs"/>
        </a:defRPr>
      </a:lvl2pPr>
      <a:lvl3pPr marL="890077" algn="l" defTabSz="890077" rtl="0" eaLnBrk="1" latinLnBrk="0" hangingPunct="1">
        <a:defRPr sz="1752" kern="1200">
          <a:solidFill>
            <a:schemeClr val="tx1"/>
          </a:solidFill>
          <a:latin typeface="+mn-lt"/>
          <a:ea typeface="+mn-ea"/>
          <a:cs typeface="+mn-cs"/>
        </a:defRPr>
      </a:lvl3pPr>
      <a:lvl4pPr marL="1335115" algn="l" defTabSz="890077" rtl="0" eaLnBrk="1" latinLnBrk="0" hangingPunct="1">
        <a:defRPr sz="1752" kern="1200">
          <a:solidFill>
            <a:schemeClr val="tx1"/>
          </a:solidFill>
          <a:latin typeface="+mn-lt"/>
          <a:ea typeface="+mn-ea"/>
          <a:cs typeface="+mn-cs"/>
        </a:defRPr>
      </a:lvl4pPr>
      <a:lvl5pPr marL="1780154" algn="l" defTabSz="890077" rtl="0" eaLnBrk="1" latinLnBrk="0" hangingPunct="1">
        <a:defRPr sz="1752" kern="1200">
          <a:solidFill>
            <a:schemeClr val="tx1"/>
          </a:solidFill>
          <a:latin typeface="+mn-lt"/>
          <a:ea typeface="+mn-ea"/>
          <a:cs typeface="+mn-cs"/>
        </a:defRPr>
      </a:lvl5pPr>
      <a:lvl6pPr marL="2225192" algn="l" defTabSz="890077" rtl="0" eaLnBrk="1" latinLnBrk="0" hangingPunct="1">
        <a:defRPr sz="1752" kern="1200">
          <a:solidFill>
            <a:schemeClr val="tx1"/>
          </a:solidFill>
          <a:latin typeface="+mn-lt"/>
          <a:ea typeface="+mn-ea"/>
          <a:cs typeface="+mn-cs"/>
        </a:defRPr>
      </a:lvl6pPr>
      <a:lvl7pPr marL="2670231" algn="l" defTabSz="890077" rtl="0" eaLnBrk="1" latinLnBrk="0" hangingPunct="1">
        <a:defRPr sz="1752" kern="1200">
          <a:solidFill>
            <a:schemeClr val="tx1"/>
          </a:solidFill>
          <a:latin typeface="+mn-lt"/>
          <a:ea typeface="+mn-ea"/>
          <a:cs typeface="+mn-cs"/>
        </a:defRPr>
      </a:lvl7pPr>
      <a:lvl8pPr marL="3115269" algn="l" defTabSz="890077" rtl="0" eaLnBrk="1" latinLnBrk="0" hangingPunct="1">
        <a:defRPr sz="1752" kern="1200">
          <a:solidFill>
            <a:schemeClr val="tx1"/>
          </a:solidFill>
          <a:latin typeface="+mn-lt"/>
          <a:ea typeface="+mn-ea"/>
          <a:cs typeface="+mn-cs"/>
        </a:defRPr>
      </a:lvl8pPr>
      <a:lvl9pPr marL="3560308" algn="l" defTabSz="890077" rtl="0" eaLnBrk="1" latinLnBrk="0" hangingPunct="1">
        <a:defRPr sz="17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634071"/>
      </p:ext>
    </p:extLst>
  </p:cSld>
  <p:clrMapOvr>
    <a:masterClrMapping/>
  </p:clrMapOvr>
  <p:transition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91CAC9A7-11FA-7E42-8717-ECC7EAE7E721}"/>
              </a:ext>
            </a:extLst>
          </p:cNvPr>
          <p:cNvSpPr/>
          <p:nvPr/>
        </p:nvSpPr>
        <p:spPr>
          <a:xfrm>
            <a:off x="135753" y="79878"/>
            <a:ext cx="399885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3600" dirty="0">
                <a:solidFill>
                  <a:srgbClr val="5A1115"/>
                </a:solidFill>
              </a:rPr>
              <a:t>Assinatura de e-mai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BB4B638C-7193-C94A-93F5-61A1F188EF53}"/>
              </a:ext>
            </a:extLst>
          </p:cNvPr>
          <p:cNvGrpSpPr/>
          <p:nvPr/>
        </p:nvGrpSpPr>
        <p:grpSpPr>
          <a:xfrm>
            <a:off x="4079483" y="2576998"/>
            <a:ext cx="3829930" cy="1154162"/>
            <a:chOff x="4079483" y="2576998"/>
            <a:chExt cx="3829930" cy="1154162"/>
          </a:xfrm>
        </p:grpSpPr>
        <p:sp>
          <p:nvSpPr>
            <p:cNvPr id="4" name="Retângulo 3">
              <a:extLst>
                <a:ext uri="{FF2B5EF4-FFF2-40B4-BE49-F238E27FC236}">
                  <a16:creationId xmlns:a16="http://schemas.microsoft.com/office/drawing/2014/main" id="{37A756EA-E1FD-4D47-95EC-CBC49DF54486}"/>
                </a:ext>
              </a:extLst>
            </p:cNvPr>
            <p:cNvSpPr/>
            <p:nvPr/>
          </p:nvSpPr>
          <p:spPr>
            <a:xfrm>
              <a:off x="5821413" y="2576998"/>
              <a:ext cx="2088000" cy="11541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Arnaldo M. </a:t>
              </a:r>
              <a:r>
                <a:rPr lang="pt-BR" sz="14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Bellato</a:t>
              </a:r>
              <a:endParaRPr lang="pt-BR" sz="1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pt-BR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ales </a:t>
              </a:r>
              <a:r>
                <a:rPr lang="pt-BR" sz="11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d</a:t>
              </a:r>
              <a:r>
                <a:rPr lang="pt-BR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Marketing</a:t>
              </a:r>
            </a:p>
            <a:p>
              <a:endParaRPr lang="pt-BR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pt-BR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55 (19) 98222-0077</a:t>
              </a:r>
            </a:p>
            <a:p>
              <a:r>
                <a:rPr lang="pt-BR" sz="105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rnaldo.bellato@cellereit.com.br</a:t>
              </a:r>
              <a:endParaRPr lang="pt-BR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pt-BR" sz="105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ww.cellereit.com.br</a:t>
              </a:r>
              <a:endParaRPr lang="pt-BR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848ECEE0-2F1F-CB48-B6D1-FE52C5734A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" r="5404"/>
            <a:stretch/>
          </p:blipFill>
          <p:spPr>
            <a:xfrm>
              <a:off x="4079483" y="2616869"/>
              <a:ext cx="1778026" cy="1028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2149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CCA57117-7A09-0F41-9F34-B9A32C749FD3}"/>
              </a:ext>
            </a:extLst>
          </p:cNvPr>
          <p:cNvSpPr/>
          <p:nvPr/>
        </p:nvSpPr>
        <p:spPr>
          <a:xfrm>
            <a:off x="135753" y="79878"/>
            <a:ext cx="312931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Cartão de Visita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1AA3CD3-2B0D-B348-BC25-2AA707DB66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4225" y="1041736"/>
            <a:ext cx="5219700" cy="27051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26F328C4-808D-6349-825B-5AA72DF8DE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0575" y="4086387"/>
            <a:ext cx="5207000" cy="2679700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7A9B0B5B-5780-EF4D-A704-09F08C369562}"/>
              </a:ext>
            </a:extLst>
          </p:cNvPr>
          <p:cNvSpPr txBox="1"/>
          <p:nvPr/>
        </p:nvSpPr>
        <p:spPr>
          <a:xfrm>
            <a:off x="5762118" y="1233734"/>
            <a:ext cx="18549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F BeauSans Pro Light" panose="02000500000000020004" pitchFamily="2" charset="0"/>
              </a:rPr>
              <a:t>Arnaldo M. </a:t>
            </a:r>
            <a:r>
              <a:rPr lang="pt-BR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F BeauSans Pro Light" panose="02000500000000020004" pitchFamily="2" charset="0"/>
              </a:rPr>
              <a:t>Bellato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  <a:latin typeface="PF BeauSans Pro Light" panose="02000500000000020004" pitchFamily="2" charset="0"/>
            </a:endParaRPr>
          </a:p>
          <a:p>
            <a:r>
              <a:rPr lang="pt-B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F BeauSans Pro" panose="02000500000000020004" pitchFamily="2" charset="0"/>
              </a:rPr>
              <a:t>Sales </a:t>
            </a:r>
            <a:r>
              <a:rPr lang="pt-BR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F BeauSans Pro" panose="02000500000000020004" pitchFamily="2" charset="0"/>
              </a:rPr>
              <a:t>and</a:t>
            </a:r>
            <a:r>
              <a:rPr lang="pt-B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F BeauSans Pro" panose="02000500000000020004" pitchFamily="2" charset="0"/>
              </a:rPr>
              <a:t> Marketing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66D4D86B-9CD5-F346-82C2-4665068944A1}"/>
              </a:ext>
            </a:extLst>
          </p:cNvPr>
          <p:cNvSpPr/>
          <p:nvPr/>
        </p:nvSpPr>
        <p:spPr>
          <a:xfrm>
            <a:off x="5762118" y="2972683"/>
            <a:ext cx="2448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F BeauSans Pro Light" panose="02000500000000020004" pitchFamily="2" charset="0"/>
              </a:rPr>
              <a:t>+55 (19) 98222-0077</a:t>
            </a:r>
          </a:p>
          <a:p>
            <a:r>
              <a:rPr lang="pt-BR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F BeauSans Pro Light" panose="02000500000000020004" pitchFamily="2" charset="0"/>
              </a:rPr>
              <a:t>arnaldo.bellato@cellereit.com.br</a:t>
            </a:r>
            <a:endParaRPr lang="pt-BR" sz="1200" dirty="0">
              <a:solidFill>
                <a:schemeClr val="tx1">
                  <a:lumMod val="75000"/>
                  <a:lumOff val="25000"/>
                </a:schemeClr>
              </a:solidFill>
              <a:latin typeface="PF BeauSans Pro Light" panose="02000500000000020004" pitchFamily="2" charset="0"/>
            </a:endParaRPr>
          </a:p>
          <a:p>
            <a:r>
              <a:rPr lang="pt-BR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F BeauSans Pro Light" panose="02000500000000020004" pitchFamily="2" charset="0"/>
              </a:rPr>
              <a:t>www.cellereit.com.br</a:t>
            </a:r>
            <a:endParaRPr lang="pt-BR" sz="1200" dirty="0">
              <a:solidFill>
                <a:schemeClr val="tx1">
                  <a:lumMod val="75000"/>
                  <a:lumOff val="25000"/>
                </a:schemeClr>
              </a:solidFill>
              <a:latin typeface="PF BeauSans Pro Light" panose="02000500000000020004" pitchFamily="2" charset="0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3AB198D3-C26F-2243-8D9B-6BC22BBBF5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7215" y="1890286"/>
            <a:ext cx="1008000" cy="10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055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F1C45B71-1017-2E46-B2B0-F1BEA3894221}"/>
              </a:ext>
            </a:extLst>
          </p:cNvPr>
          <p:cNvSpPr/>
          <p:nvPr/>
        </p:nvSpPr>
        <p:spPr>
          <a:xfrm>
            <a:off x="268104" y="79878"/>
            <a:ext cx="313323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3600" dirty="0">
                <a:solidFill>
                  <a:srgbClr val="5A1115"/>
                </a:solidFill>
              </a:rPr>
              <a:t>Site Temporári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DAA3215F-EA94-C64C-A9B7-0A187D92A2E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2075" y="1155036"/>
            <a:ext cx="9144000" cy="47645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FD3DBAF8-3BD4-AE4F-8496-422C11E8838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482" y="836200"/>
            <a:ext cx="9623186" cy="6454937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5213D4F3-76D8-CE42-8F75-E3E999A52DF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294" t="18744" r="12039" b="23308"/>
          <a:stretch/>
        </p:blipFill>
        <p:spPr>
          <a:xfrm>
            <a:off x="1634762" y="1261615"/>
            <a:ext cx="2756845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0649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461EA7F6-4D9C-6D4F-A42E-06FB4BC64E63}"/>
              </a:ext>
            </a:extLst>
          </p:cNvPr>
          <p:cNvSpPr txBox="1"/>
          <p:nvPr/>
        </p:nvSpPr>
        <p:spPr>
          <a:xfrm>
            <a:off x="6604000" y="9398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656290"/>
      </p:ext>
    </p:extLst>
  </p:cSld>
  <p:clrMapOvr>
    <a:masterClrMapping/>
  </p:clrMapOvr>
  <p:transition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ClqVOG3k.YQwk5R.JJUA"/>
</p:tagLst>
</file>

<file path=ppt/theme/theme1.xml><?xml version="1.0" encoding="utf-8"?>
<a:theme xmlns:a="http://schemas.openxmlformats.org/drawingml/2006/main" name="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08</TotalTime>
  <Words>66</Words>
  <Application>Microsoft Macintosh PowerPoint</Application>
  <PresentationFormat>Personalizar</PresentationFormat>
  <Paragraphs>14</Paragraphs>
  <Slides>5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0" baseType="lpstr">
      <vt:lpstr>Arial</vt:lpstr>
      <vt:lpstr>Calibri</vt:lpstr>
      <vt:lpstr>PF BeauSans Pro</vt:lpstr>
      <vt:lpstr>PF BeauSans Pro Light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rnaldo Maciel Bellato</dc:creator>
  <cp:lastModifiedBy>Arnaldo Maciel Bellato</cp:lastModifiedBy>
  <cp:revision>39</cp:revision>
  <dcterms:created xsi:type="dcterms:W3CDTF">2018-11-27T00:40:41Z</dcterms:created>
  <dcterms:modified xsi:type="dcterms:W3CDTF">2018-12-20T11:29:54Z</dcterms:modified>
</cp:coreProperties>
</file>